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3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7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51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9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9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18.06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7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17.06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6/17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6/17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6/17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</a:t>
            </a:r>
            <a:r>
              <a:rPr lang="ru-RU" sz="2400" smtClean="0">
                <a:sym typeface="Manrope Bold"/>
              </a:rPr>
              <a:t>на </a:t>
            </a:r>
            <a:r>
              <a:rPr lang="ru-RU" sz="2400" smtClean="0">
                <a:sym typeface="Manrope Bold"/>
              </a:rPr>
              <a:t>18.06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4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6417689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4372199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4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9569164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9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04</cp:revision>
  <cp:lastPrinted>2025-05-22T08:59:55Z</cp:lastPrinted>
  <dcterms:created xsi:type="dcterms:W3CDTF">2021-07-15T07:55:03Z</dcterms:created>
  <dcterms:modified xsi:type="dcterms:W3CDTF">2025-06-17T14:08:04Z</dcterms:modified>
</cp:coreProperties>
</file>